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notesSlides/notesSlide1.xml" ContentType="application/vnd.openxmlformats-officedocument.presentationml.notesSl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9"/>
  </p:notesMasterIdLst>
  <p:handoutMasterIdLst>
    <p:handoutMasterId r:id="rId10"/>
  </p:handoutMasterIdLst>
  <p:sldIdLst>
    <p:sldId id="256" r:id="rId3"/>
    <p:sldId id="3700" r:id="rId4"/>
    <p:sldId id="3701" r:id="rId5"/>
    <p:sldId id="3821" r:id="rId6"/>
    <p:sldId id="3702" r:id="rId7"/>
    <p:sldId id="3823" r:id="rId8"/>
  </p:sldIdLst>
  <p:sldSz cx="12192000" cy="68580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8" autoAdjust="0"/>
    <p:restoredTop sz="94621" autoAdjust="0"/>
  </p:normalViewPr>
  <p:slideViewPr>
    <p:cSldViewPr snapToGrid="0" snapToObjects="1">
      <p:cViewPr varScale="1">
        <p:scale>
          <a:sx n="65" d="100"/>
          <a:sy n="65" d="100"/>
        </p:scale>
        <p:origin x="708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9 Febr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9 Febr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341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2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5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2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325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slide" Target="slide5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33.xml"/><Relationship Id="rId11" Type="http://schemas.openxmlformats.org/officeDocument/2006/relationships/image" Target="../media/image9.emf"/><Relationship Id="rId5" Type="http://schemas.openxmlformats.org/officeDocument/2006/relationships/tags" Target="../tags/tag33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331.xml"/><Relationship Id="rId9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notesSlide" Target="../notesSlides/notesSlide1.xml"/><Relationship Id="rId18" Type="http://schemas.openxmlformats.org/officeDocument/2006/relationships/image" Target="../media/image13.svg"/><Relationship Id="rId3" Type="http://schemas.openxmlformats.org/officeDocument/2006/relationships/tags" Target="../tags/tag337.xml"/><Relationship Id="rId21" Type="http://schemas.openxmlformats.org/officeDocument/2006/relationships/image" Target="../media/image16.png"/><Relationship Id="rId7" Type="http://schemas.openxmlformats.org/officeDocument/2006/relationships/tags" Target="../tags/tag34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2.png"/><Relationship Id="rId2" Type="http://schemas.openxmlformats.org/officeDocument/2006/relationships/tags" Target="../tags/tag336.xml"/><Relationship Id="rId16" Type="http://schemas.openxmlformats.org/officeDocument/2006/relationships/image" Target="../media/image11.svg"/><Relationship Id="rId20" Type="http://schemas.openxmlformats.org/officeDocument/2006/relationships/image" Target="../media/image15.svg"/><Relationship Id="rId1" Type="http://schemas.openxmlformats.org/officeDocument/2006/relationships/vmlDrawing" Target="../drawings/vmlDrawing29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10.png"/><Relationship Id="rId10" Type="http://schemas.openxmlformats.org/officeDocument/2006/relationships/tags" Target="../tags/tag344.xml"/><Relationship Id="rId19" Type="http://schemas.openxmlformats.org/officeDocument/2006/relationships/image" Target="../media/image14.pn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oleObject" Target="../embeddings/oleObject29.bin"/><Relationship Id="rId22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12" Type="http://schemas.openxmlformats.org/officeDocument/2006/relationships/slide" Target="slide3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50.xml"/><Relationship Id="rId11" Type="http://schemas.openxmlformats.org/officeDocument/2006/relationships/image" Target="../media/image9.emf"/><Relationship Id="rId5" Type="http://schemas.openxmlformats.org/officeDocument/2006/relationships/tags" Target="../tags/tag349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348.xml"/><Relationship Id="rId9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tags" Target="../tags/tag354.xml"/><Relationship Id="rId7" Type="http://schemas.openxmlformats.org/officeDocument/2006/relationships/image" Target="../media/image18.emf"/><Relationship Id="rId12" Type="http://schemas.openxmlformats.org/officeDocument/2006/relationships/hyperlink" Target="https://mckinsey.service-now.com/ghd?id=mck_ghd_kb_article&amp;sysparm_article=KO80169" TargetMode="External"/><Relationship Id="rId2" Type="http://schemas.openxmlformats.org/officeDocument/2006/relationships/tags" Target="../tags/tag35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1.png"/><Relationship Id="rId4" Type="http://schemas.openxmlformats.org/officeDocument/2006/relationships/tags" Target="../tags/tag355.xml"/><Relationship Id="rId9" Type="http://schemas.openxmlformats.org/officeDocument/2006/relationships/image" Target="../media/image20.png"/><Relationship Id="rId1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568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6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0" dirty="0"/>
              <a:t>Managing the Active Directory datab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3C704-A587-42BF-9179-A205EB15B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67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0"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33C704-A587-42BF-9179-A205EB15B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650B6BA7-A54D-4342-967F-2A7950E39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F34EFAA-D773-4AF0-9C5B-7F41A04401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ECD35A-9941-4B3C-B1E4-74F1F7D4B47F}"/>
              </a:ext>
            </a:extLst>
          </p:cNvPr>
          <p:cNvSpPr txBox="1"/>
          <p:nvPr/>
        </p:nvSpPr>
        <p:spPr>
          <a:xfrm>
            <a:off x="554736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Purpo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F3AF11-24F1-4947-8C6E-05E5CEA8234A}"/>
              </a:ext>
            </a:extLst>
          </p:cNvPr>
          <p:cNvSpPr txBox="1"/>
          <p:nvPr/>
        </p:nvSpPr>
        <p:spPr>
          <a:xfrm>
            <a:off x="4361688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Layou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297506-FE91-41BD-A03A-A3DD413D849F}"/>
              </a:ext>
            </a:extLst>
          </p:cNvPr>
          <p:cNvSpPr txBox="1"/>
          <p:nvPr/>
        </p:nvSpPr>
        <p:spPr>
          <a:xfrm>
            <a:off x="8168640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2EB97F6-0AB7-4ACF-B77D-F45D737725D7}"/>
              </a:ext>
            </a:extLst>
          </p:cNvPr>
          <p:cNvSpPr txBox="1">
            <a:spLocks/>
          </p:cNvSpPr>
          <p:nvPr/>
        </p:nvSpPr>
        <p:spPr>
          <a:xfrm>
            <a:off x="554736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executive summary should be a brief, stand-alone version of a document that focuses on the most important messages, meant to be read rather than presented.</a:t>
            </a:r>
          </a:p>
          <a:p>
            <a:r>
              <a:rPr lang="en-US" dirty="0"/>
              <a:t>Do not include any content that is not in the body of the document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7B51B5-2270-4EAD-ABCC-359B6307BA2D}"/>
              </a:ext>
            </a:extLst>
          </p:cNvPr>
          <p:cNvSpPr txBox="1">
            <a:spLocks/>
          </p:cNvSpPr>
          <p:nvPr/>
        </p:nvSpPr>
        <p:spPr>
          <a:xfrm>
            <a:off x="4361688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the columns in this layout to organize the content.</a:t>
            </a:r>
          </a:p>
          <a:p>
            <a:r>
              <a:rPr lang="en-US" dirty="0"/>
              <a:t>If you need more than 3 columns, use two rows or add a second page.</a:t>
            </a:r>
          </a:p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B71C62-885C-4ECC-8D3C-61F68C7075C1}"/>
              </a:ext>
            </a:extLst>
          </p:cNvPr>
          <p:cNvSpPr txBox="1">
            <a:spLocks/>
          </p:cNvSpPr>
          <p:nvPr/>
        </p:nvSpPr>
        <p:spPr>
          <a:xfrm>
            <a:off x="8174736" y="2263937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Be brief. Write the shortest, simplest sentences possible.</a:t>
            </a:r>
          </a:p>
          <a:p>
            <a:r>
              <a:rPr lang="en-US" dirty="0"/>
              <a:t>Favor active over passive verbs.</a:t>
            </a:r>
          </a:p>
          <a:p>
            <a:r>
              <a:rPr lang="en-US" dirty="0"/>
              <a:t>Use plain words and the client’s terminology, not consulting jargo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4" name="5. Source">
            <a:extLst>
              <a:ext uri="{FF2B5EF4-FFF2-40B4-BE49-F238E27FC236}">
                <a16:creationId xmlns:a16="http://schemas.microsoft.com/office/drawing/2014/main" id="{2759B773-38D8-41C8-BEAB-410DD72295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81303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436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4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2"/>
                </a:solidFill>
              </a:rPr>
              <a:t>Updates to the template</a:t>
            </a:r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9A10DBDD-221A-4392-8BD8-22241DEF072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PowerPoint ti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048" name="AutoShape 16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9853821"/>
              </p:ext>
            </p:extLst>
          </p:nvPr>
        </p:nvGraphicFramePr>
        <p:xfrm>
          <a:off x="1524274" y="6"/>
          <a:ext cx="161975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8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172048" name="AutoShape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4" y="6"/>
                        <a:ext cx="161975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690BED5-1BAC-46A8-B877-0CC221D97C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38209C-BF4D-480A-9AA5-6D4BAF60D4A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Rectangle 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/>
          <a:lstStyle/>
          <a:p>
            <a:r>
              <a:rPr lang="en-US" dirty="0"/>
              <a:t>Slide titles should be one or two line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dirty="0"/>
              <a:t>for longer titles and additional layout options, right click the slide and select ‘Layout’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66E5FD3-6409-4143-A088-8B92698764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Use subtitles to add context (they are now slightly smaller to avoid crowding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5DB51E-108C-461E-B75E-0216DF54BE9C}"/>
              </a:ext>
            </a:extLst>
          </p:cNvPr>
          <p:cNvSpPr txBox="1">
            <a:spLocks/>
          </p:cNvSpPr>
          <p:nvPr/>
        </p:nvSpPr>
        <p:spPr>
          <a:xfrm>
            <a:off x="534096" y="2884519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color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4908E44-4796-4B85-B238-FE16FEE90F30}"/>
              </a:ext>
            </a:extLst>
          </p:cNvPr>
          <p:cNvSpPr txBox="1">
            <a:spLocks/>
          </p:cNvSpPr>
          <p:nvPr/>
        </p:nvSpPr>
        <p:spPr>
          <a:xfrm>
            <a:off x="8174736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2000" b="1"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800" dirty="0">
                <a:cs typeface="Arial"/>
              </a:rPr>
              <a:t>New guidelines for font size</a:t>
            </a:r>
            <a:endParaRPr lang="en-US" sz="18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41189B-5B77-4170-91EF-0CC7873670B4}"/>
              </a:ext>
            </a:extLst>
          </p:cNvPr>
          <p:cNvSpPr txBox="1">
            <a:spLocks/>
          </p:cNvSpPr>
          <p:nvPr/>
        </p:nvSpPr>
        <p:spPr>
          <a:xfrm>
            <a:off x="4355644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bullets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6B7815-11BE-4919-B3D4-858F9C764F71}"/>
              </a:ext>
            </a:extLst>
          </p:cNvPr>
          <p:cNvSpPr txBox="1">
            <a:spLocks/>
          </p:cNvSpPr>
          <p:nvPr/>
        </p:nvSpPr>
        <p:spPr>
          <a:xfrm>
            <a:off x="8174736" y="3395450"/>
            <a:ext cx="3465576" cy="144655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Use a font size of 16 points or more for a presentation.</a:t>
            </a:r>
            <a:endParaRPr lang="en-US" sz="1400" dirty="0"/>
          </a:p>
          <a:p>
            <a:r>
              <a:rPr lang="en-US" sz="1400" dirty="0">
                <a:cs typeface="Arial"/>
              </a:rPr>
              <a:t>Use a font size of 12 points only for a </a:t>
            </a:r>
            <a:br>
              <a:rPr lang="en-US" sz="1400" dirty="0">
                <a:cs typeface="Arial"/>
              </a:rPr>
            </a:br>
            <a:r>
              <a:rPr lang="en-US" sz="1400" dirty="0">
                <a:cs typeface="Arial"/>
              </a:rPr>
              <a:t>pre-read or leave-behind document.</a:t>
            </a:r>
            <a:endParaRPr lang="en-US" sz="1400" dirty="0"/>
          </a:p>
          <a:p>
            <a:r>
              <a:rPr lang="en-US" sz="1400" dirty="0">
                <a:cs typeface="Arial"/>
              </a:rPr>
              <a:t>A font size of 10 points can be used for callouts or dense tables.</a:t>
            </a:r>
            <a:endParaRPr lang="en-US" sz="14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7371FB-338A-46FD-96B7-2AF76677DD33}"/>
              </a:ext>
            </a:extLst>
          </p:cNvPr>
          <p:cNvSpPr txBox="1">
            <a:spLocks/>
          </p:cNvSpPr>
          <p:nvPr/>
        </p:nvSpPr>
        <p:spPr>
          <a:xfrm>
            <a:off x="552732" y="3395450"/>
            <a:ext cx="3465576" cy="209288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400" dirty="0">
                <a:cs typeface="Arial"/>
              </a:rPr>
              <a:t>Use color strategically to direct attention to content by using icons, color in charts, and contrast layouts.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Use the new electric blue icons (examples above) to add colorful visual entry points to your document.</a:t>
            </a:r>
          </a:p>
          <a:p>
            <a:pPr>
              <a:buNone/>
            </a:pPr>
            <a:r>
              <a:rPr lang="en-US" sz="1400" dirty="0">
                <a:cs typeface="Arial"/>
              </a:rPr>
              <a:t>And use images from our TeamSlide Image Library to establish rhythm in your presentation.</a:t>
            </a:r>
            <a:endParaRPr lang="en-US" sz="1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2D9CD88-D087-4EAA-9B84-5DD7234131A1}"/>
              </a:ext>
            </a:extLst>
          </p:cNvPr>
          <p:cNvSpPr txBox="1">
            <a:spLocks/>
          </p:cNvSpPr>
          <p:nvPr/>
        </p:nvSpPr>
        <p:spPr>
          <a:xfrm>
            <a:off x="4355644" y="3395450"/>
            <a:ext cx="3465576" cy="234679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Manage bullet clutter by following these rules of thumb:</a:t>
            </a:r>
          </a:p>
          <a:p>
            <a:pPr lvl="1"/>
            <a:r>
              <a:rPr lang="en-US" sz="1400" dirty="0">
                <a:cs typeface="Arial"/>
              </a:rPr>
              <a:t>Consider applying bullets to lists with more than three items</a:t>
            </a:r>
          </a:p>
          <a:p>
            <a:pPr lvl="1"/>
            <a:r>
              <a:rPr lang="en-US" sz="1400" dirty="0">
                <a:cs typeface="Arial"/>
              </a:rPr>
              <a:t>Use bullets when you need to express hierarchy</a:t>
            </a:r>
            <a:endParaRPr lang="en-US" sz="1400" dirty="0"/>
          </a:p>
          <a:p>
            <a:pPr lvl="1"/>
            <a:r>
              <a:rPr lang="en-US" sz="1400" dirty="0">
                <a:cs typeface="Arial"/>
              </a:rPr>
              <a:t>Introduce a bulleted list with a sentence or phrase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For shorter lists, use text without bullets, properly spaced, like the lists on this page.</a:t>
            </a:r>
            <a:endParaRPr lang="en-US" sz="1400" dirty="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4219FEDA-17F3-496D-AE11-7EE3CBDA40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93616" y="1994085"/>
            <a:ext cx="402336" cy="402336"/>
          </a:xfrm>
          <a:prstGeom prst="rect">
            <a:avLst/>
          </a:prstGeom>
        </p:spPr>
      </p:pic>
      <p:grpSp>
        <p:nvGrpSpPr>
          <p:cNvPr id="30" name="CustomIcon">
            <a:extLst>
              <a:ext uri="{FF2B5EF4-FFF2-40B4-BE49-F238E27FC236}">
                <a16:creationId xmlns:a16="http://schemas.microsoft.com/office/drawing/2014/main" id="{30C46F1E-6BEA-4B83-B078-A069CE4BED5D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613403" y="1755228"/>
            <a:ext cx="950058" cy="950058"/>
            <a:chOff x="-200025" y="-207010"/>
            <a:chExt cx="1019810" cy="101981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CD1E4E1-BADE-4ED5-BAEF-9AFAA162F6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6477E2E1-DE3C-4650-9AB3-6CE131468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3" name="CustomIcon">
            <a:extLst>
              <a:ext uri="{FF2B5EF4-FFF2-40B4-BE49-F238E27FC236}">
                <a16:creationId xmlns:a16="http://schemas.microsoft.com/office/drawing/2014/main" id="{4A0EE308-CF62-4016-9F67-1EE4FB5B6E1C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9432495" y="1755228"/>
            <a:ext cx="950058" cy="950058"/>
            <a:chOff x="-200025" y="-207010"/>
            <a:chExt cx="1019810" cy="101981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60CCA8C-0CD4-4CB6-8E2C-C97D5598AE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D8919988-1655-42A2-9FCA-273C560A6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6" name="CustomIcon">
            <a:extLst>
              <a:ext uri="{FF2B5EF4-FFF2-40B4-BE49-F238E27FC236}">
                <a16:creationId xmlns:a16="http://schemas.microsoft.com/office/drawing/2014/main" id="{05D45294-528C-4342-95BF-4B433B5E8146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1791855" y="1755228"/>
            <a:ext cx="950058" cy="950058"/>
            <a:chOff x="-200025" y="-207010"/>
            <a:chExt cx="1019810" cy="101981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C55B2E3-2FA6-4FE5-A433-73E86DFCF1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2388E6F-36F8-462C-9846-10A59DFF0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40" name="LineContentSeparatorDefault 22">
            <a:extLst>
              <a:ext uri="{FF2B5EF4-FFF2-40B4-BE49-F238E27FC236}">
                <a16:creationId xmlns:a16="http://schemas.microsoft.com/office/drawing/2014/main" id="{B60B061A-2429-45FA-AA5E-9654B06C70C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2732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neContentSeparatorDefault 22">
            <a:extLst>
              <a:ext uri="{FF2B5EF4-FFF2-40B4-BE49-F238E27FC236}">
                <a16:creationId xmlns:a16="http://schemas.microsoft.com/office/drawing/2014/main" id="{466015E3-D0F5-4CA9-8DAE-B4F32CC0CCB3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355644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neContentSeparatorDefault 22">
            <a:extLst>
              <a:ext uri="{FF2B5EF4-FFF2-40B4-BE49-F238E27FC236}">
                <a16:creationId xmlns:a16="http://schemas.microsoft.com/office/drawing/2014/main" id="{F8BE44EC-651A-4E22-AD6A-67B38613F4C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174736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5290592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215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2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B360B583-455C-2E43-BB6A-DB82A9F269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Updates to the templat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AC5BD1-403F-D340-A4EA-159E4D0979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tx2"/>
                </a:solidFill>
              </a:rPr>
              <a:t>PowerPoint tips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982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C533167-17E7-2546-B7DF-B1527E223C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0836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49ED5F5-8683-DA46-A12E-02D9CEDD77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51684" y="685464"/>
            <a:ext cx="2923648" cy="12336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6FFF0E-96AD-2D4B-ADDE-DE34EA4385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3010" y="3780689"/>
            <a:ext cx="2440756" cy="113792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F8DA7B4-B308-4642-8EDE-E3996DBE4B5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8354" y="685464"/>
            <a:ext cx="2310322" cy="1137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5478201-B198-7348-BCB2-7AB6A220174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2089097" y="2219115"/>
            <a:ext cx="6380988" cy="4984155"/>
          </a:xfrm>
          <a:prstGeom prst="rect">
            <a:avLst/>
          </a:prstGeom>
        </p:spPr>
      </p:pic>
      <p:sp>
        <p:nvSpPr>
          <p:cNvPr id="18" name="2. Slide Title">
            <a:extLst>
              <a:ext uri="{FF2B5EF4-FFF2-40B4-BE49-F238E27FC236}">
                <a16:creationId xmlns:a16="http://schemas.microsoft.com/office/drawing/2014/main" id="{93A34AA4-626F-E64D-BA32-8C37286E9BB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2501" y="684355"/>
            <a:ext cx="3855424" cy="18394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end less of your day in PowerPoint with these time-saving tip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7070C92-2558-1348-908A-B3047381C4ED}"/>
              </a:ext>
            </a:extLst>
          </p:cNvPr>
          <p:cNvGrpSpPr/>
          <p:nvPr/>
        </p:nvGrpSpPr>
        <p:grpSpPr>
          <a:xfrm>
            <a:off x="4874615" y="395186"/>
            <a:ext cx="680228" cy="792878"/>
            <a:chOff x="5803392" y="1848866"/>
            <a:chExt cx="794944" cy="92659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7376AFA-86C4-5E45-B446-173D70AA0E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19AAEE5-5C04-8942-8E96-0253C6FE9EFA}"/>
                </a:ext>
              </a:extLst>
            </p:cNvPr>
            <p:cNvSpPr txBox="1"/>
            <p:nvPr/>
          </p:nvSpPr>
          <p:spPr>
            <a:xfrm>
              <a:off x="6019862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1	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260930C1-6595-F649-A6DB-8E00BF898A04}"/>
              </a:ext>
            </a:extLst>
          </p:cNvPr>
          <p:cNvSpPr txBox="1"/>
          <p:nvPr/>
        </p:nvSpPr>
        <p:spPr>
          <a:xfrm>
            <a:off x="5512738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FORMAT UPDAT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811F73A-DF52-614A-A176-CA19C9582FC7}"/>
              </a:ext>
            </a:extLst>
          </p:cNvPr>
          <p:cNvSpPr txBox="1"/>
          <p:nvPr/>
        </p:nvSpPr>
        <p:spPr>
          <a:xfrm>
            <a:off x="9051684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CLEAN DRAF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5CF9479-3D34-9845-A601-84DAE8881598}"/>
              </a:ext>
            </a:extLst>
          </p:cNvPr>
          <p:cNvSpPr txBox="1"/>
          <p:nvPr/>
        </p:nvSpPr>
        <p:spPr>
          <a:xfrm>
            <a:off x="5512738" y="350547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SELECT SIMILA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4A54F9-83C3-2140-A556-2E3A34DF6025}"/>
              </a:ext>
            </a:extLst>
          </p:cNvPr>
          <p:cNvSpPr txBox="1"/>
          <p:nvPr/>
        </p:nvSpPr>
        <p:spPr>
          <a:xfrm>
            <a:off x="5512738" y="2031380"/>
            <a:ext cx="21153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pasting a slide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81772FC-274D-3F4C-8ED0-5842D3D176EF}"/>
              </a:ext>
            </a:extLst>
          </p:cNvPr>
          <p:cNvSpPr txBox="1"/>
          <p:nvPr/>
        </p:nvSpPr>
        <p:spPr>
          <a:xfrm>
            <a:off x="5512738" y="2403472"/>
            <a:ext cx="278892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ean up formatting and make content fit in one click with the Format Upda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BD555F-0B09-0A4B-B665-DA65ACE61CAF}"/>
              </a:ext>
            </a:extLst>
          </p:cNvPr>
          <p:cNvSpPr txBox="1"/>
          <p:nvPr/>
        </p:nvSpPr>
        <p:spPr>
          <a:xfrm>
            <a:off x="9051684" y="2031380"/>
            <a:ext cx="211531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it’s time to clean up your pages</a:t>
            </a:r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DA38743-EC99-8D4C-8C8A-9FD904743D70}"/>
              </a:ext>
            </a:extLst>
          </p:cNvPr>
          <p:cNvSpPr txBox="1"/>
          <p:nvPr/>
        </p:nvSpPr>
        <p:spPr>
          <a:xfrm>
            <a:off x="9051684" y="2618916"/>
            <a:ext cx="247114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Save time with the automatic Clean Draft too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B856948-530D-754F-AD5B-4D5F022296FF}"/>
              </a:ext>
            </a:extLst>
          </p:cNvPr>
          <p:cNvSpPr txBox="1"/>
          <p:nvPr/>
        </p:nvSpPr>
        <p:spPr>
          <a:xfrm>
            <a:off x="5512738" y="5067188"/>
            <a:ext cx="206654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formatting similar objects</a:t>
            </a:r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3018721-CF4F-F44A-AF80-E98125E3DB04}"/>
              </a:ext>
            </a:extLst>
          </p:cNvPr>
          <p:cNvSpPr txBox="1"/>
          <p:nvPr/>
        </p:nvSpPr>
        <p:spPr>
          <a:xfrm>
            <a:off x="5512738" y="5610760"/>
            <a:ext cx="27889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ick on one and use Select Similar to select the rest at once</a:t>
            </a:r>
          </a:p>
        </p:txBody>
      </p:sp>
      <p:sp>
        <p:nvSpPr>
          <p:cNvPr id="42" name="KeyTakeawayOF 7">
            <a:extLst>
              <a:ext uri="{FF2B5EF4-FFF2-40B4-BE49-F238E27FC236}">
                <a16:creationId xmlns:a16="http://schemas.microsoft.com/office/drawing/2014/main" id="{A0097ACC-F1BD-8C4D-AA3B-48B6FDCE6E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39246" y="3542051"/>
            <a:ext cx="3036086" cy="2499595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177330-1581-5F4B-A933-4B519386D328}"/>
              </a:ext>
            </a:extLst>
          </p:cNvPr>
          <p:cNvSpPr/>
          <p:nvPr/>
        </p:nvSpPr>
        <p:spPr>
          <a:xfrm>
            <a:off x="9307216" y="4438909"/>
            <a:ext cx="230014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</a:rPr>
              <a:t>See over two dozen more time-saving tips on the PowerPoint pages of the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098F9"/>
                </a:solidFill>
                <a:latin typeface="Arial" panose="020B0604020202020204" pitchFamily="34" charset="0"/>
                <a:hlinkClick r:id="rId12"/>
              </a:rPr>
              <a:t>GHD website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AAF46951-3A55-A440-8B16-5795813A8A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2564976">
            <a:off x="10154741" y="3769109"/>
            <a:ext cx="605097" cy="605097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9699967E-EF61-2E46-BA1C-F440370D663E}"/>
              </a:ext>
            </a:extLst>
          </p:cNvPr>
          <p:cNvGrpSpPr/>
          <p:nvPr/>
        </p:nvGrpSpPr>
        <p:grpSpPr>
          <a:xfrm>
            <a:off x="8459063" y="395186"/>
            <a:ext cx="680228" cy="792878"/>
            <a:chOff x="5803392" y="1848866"/>
            <a:chExt cx="794944" cy="926592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50C438CE-0584-0A4D-9A5F-9235357F38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3531501-F8AB-A54B-845B-D84A4A216918}"/>
                </a:ext>
              </a:extLst>
            </p:cNvPr>
            <p:cNvSpPr txBox="1"/>
            <p:nvPr/>
          </p:nvSpPr>
          <p:spPr>
            <a:xfrm>
              <a:off x="5977118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2	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F83B069-5C2A-9C45-B211-7C06BBDFCF52}"/>
              </a:ext>
            </a:extLst>
          </p:cNvPr>
          <p:cNvGrpSpPr/>
          <p:nvPr/>
        </p:nvGrpSpPr>
        <p:grpSpPr>
          <a:xfrm>
            <a:off x="4898999" y="3418802"/>
            <a:ext cx="680228" cy="817800"/>
            <a:chOff x="5803392" y="1791874"/>
            <a:chExt cx="794944" cy="955717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20D17F6-35AE-CC40-90D2-18DCAD44B4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4273232-7404-B045-A8D9-AECD61F3DD8A}"/>
                </a:ext>
              </a:extLst>
            </p:cNvPr>
            <p:cNvSpPr txBox="1"/>
            <p:nvPr/>
          </p:nvSpPr>
          <p:spPr>
            <a:xfrm>
              <a:off x="6005614" y="1791874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3	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5959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12-01 10:45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XNU4EM40CnztqwcQJi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pper1Es.bFXmZVU0Rc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0CyCvT9Kh8.7VOzXDQ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l3iX7ECPszUBF60dOs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U7m5fRlpVYYnmxGmv9O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CJPJTwUI5XFqJjlXI9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KLZMkNCkeB5EagGWbx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KeyTakeawayOF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29</Words>
  <Application>Microsoft Office PowerPoint</Application>
  <PresentationFormat>Widescreen</PresentationFormat>
  <Paragraphs>52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Managing the Active Directory database</vt:lpstr>
      <vt:lpstr>Executive summary</vt:lpstr>
      <vt:lpstr>Agenda</vt:lpstr>
      <vt:lpstr>Slide titles should be one or two lines – for longer titles and additional layout options, right click the slide and select ‘Layout’</vt:lpstr>
      <vt:lpstr>Agend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naging the Active Directory database</dc:title>
  <dc:subject/>
  <dc:creator>Lam Nguyen</dc:creator>
  <cp:keywords/>
  <dc:description/>
  <cp:lastModifiedBy>Lam Nguyen</cp:lastModifiedBy>
  <cp:revision>1</cp:revision>
  <cp:lastPrinted>2018-10-30T20:37:12Z</cp:lastPrinted>
  <dcterms:created xsi:type="dcterms:W3CDTF">2021-02-19T11:12:26Z</dcterms:created>
  <dcterms:modified xsi:type="dcterms:W3CDTF">2021-02-19T11:12:4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